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892901618929E-2"/>
          <c:y val="3.6061026352288486E-2"/>
          <c:w val="0.96762141967621418"/>
          <c:h val="0.927877947295423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0804438280166435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677-4344-BC0B-6680914F8163}"/>
                </c:ext>
              </c:extLst>
            </c:dLbl>
            <c:dLbl>
              <c:idx val="1"/>
              <c:layout>
                <c:manualLayout>
                  <c:x val="0"/>
                  <c:y val="-2.7739251040221915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677-4344-BC0B-6680914F8163}"/>
                </c:ext>
              </c:extLst>
            </c:dLbl>
            <c:dLbl>
              <c:idx val="2"/>
              <c:layout>
                <c:manualLayout>
                  <c:x val="0"/>
                  <c:y val="-2.0804438280166435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677-4344-BC0B-6680914F816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77-4344-BC0B-6680914F816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0804438280166435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677-4344-BC0B-6680914F8163}"/>
                </c:ext>
              </c:extLst>
            </c:dLbl>
            <c:dLbl>
              <c:idx val="1"/>
              <c:layout>
                <c:manualLayout>
                  <c:x val="0"/>
                  <c:y val="-2.0804438280166435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677-4344-BC0B-6680914F8163}"/>
                </c:ext>
              </c:extLst>
            </c:dLbl>
            <c:dLbl>
              <c:idx val="2"/>
              <c:layout>
                <c:manualLayout>
                  <c:x val="0"/>
                  <c:y val="-2.0804438280166435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677-4344-BC0B-6680914F816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86</c:v>
                </c:pt>
                <c:pt idx="2">
                  <c:v>7.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677-4344-BC0B-6680914F816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0804438280166435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677-4344-BC0B-6680914F8163}"/>
                </c:ext>
              </c:extLst>
            </c:dLbl>
            <c:dLbl>
              <c:idx val="1"/>
              <c:layout>
                <c:manualLayout>
                  <c:x val="0"/>
                  <c:y val="-2.0804438280166435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677-4344-BC0B-6680914F8163}"/>
                </c:ext>
              </c:extLst>
            </c:dLbl>
            <c:dLbl>
              <c:idx val="2"/>
              <c:layout>
                <c:manualLayout>
                  <c:x val="0"/>
                  <c:y val="-2.0804438280166435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677-4344-BC0B-6680914F816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.5</c:v>
                </c:pt>
                <c:pt idx="1">
                  <c:v>5.3000000000000007</c:v>
                </c:pt>
                <c:pt idx="2">
                  <c:v>4.10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677-4344-BC0B-6680914F81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15203408"/>
        <c:axId val="1"/>
      </c:barChart>
      <c:catAx>
        <c:axId val="715203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400000000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5203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C39-4CEF-8272-8EE26664EC9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C39-4CEF-8272-8EE26664EC9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C39-4CEF-8272-8EE26664EC9C}"/>
              </c:ext>
            </c:extLst>
          </c:dPt>
          <c:dLbls>
            <c:dLbl>
              <c:idx val="0"/>
              <c:layout>
                <c:manualLayout>
                  <c:x val="0.17016806722689076"/>
                  <c:y val="3.8340336134453784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C39-4CEF-8272-8EE26664EC9C}"/>
                </c:ext>
              </c:extLst>
            </c:dLbl>
            <c:dLbl>
              <c:idx val="1"/>
              <c:layout>
                <c:manualLayout>
                  <c:x val="-0.16176470588235295"/>
                  <c:y val="6.0399159663865547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C39-4CEF-8272-8EE26664EC9C}"/>
                </c:ext>
              </c:extLst>
            </c:dLbl>
            <c:dLbl>
              <c:idx val="2"/>
              <c:layout>
                <c:manualLayout>
                  <c:x val="-9.9264705882352935E-2"/>
                  <c:y val="-0.14810924369747899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C39-4CEF-8272-8EE26664EC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39-4CEF-8272-8EE26664EC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BA7AE-7B9D-4788-A099-D7C18FB327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B9C323-8E1C-4C11-914E-BE8C7372BB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124218-0E0B-48EB-9C25-84A314B438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8E18BF-6C94-4EE3-B8C3-6F06A1285A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2EFAFF-261D-4618-AFE9-5B690E63E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4947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087DF-95A8-49AD-B3FA-AE45AD3DB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0063E0-DC3E-4CEF-AC3E-534C468330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3061B-3236-4BE3-9DC7-E67E0FCC1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D89317-13A8-49FC-86C6-B9C7F90E8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E91C4F-2509-4131-BA04-62B177762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93643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952B58-6DBE-4703-89A4-F3FD473AF5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529BA2-4003-4804-9069-01C7DB94E5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A464A-A191-4BD0-BB10-FBFBBA626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D651F8-9EF3-435C-B202-3BA206D07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2C25A-6900-428F-AF19-62A015FC8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70842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0E7552-27A2-4ECC-97F2-42CFCC60F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FF99AD-E2ED-41AE-B581-3D46E193CF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DA30D0-4BB1-4D91-A2CD-7F0F24ED7B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DF2C0F-575A-4A92-BFC9-36610C187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0F642A-CDE6-4064-882D-8562DD056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6845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B82EA-D420-4F72-8367-6E6C63107B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BEDC37-B01F-4742-8160-1B58B43EDD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BF2236-2B2A-460E-A7B3-DCCAB8CFE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6B9047-16F4-4C16-9886-FCF3E9B30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B6987D-BFCF-4358-B991-ECE86ACE3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9702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FA553-4FCD-463A-8E02-D63FF2902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D5F9A9-B68E-4901-A88B-B6064811A7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8107DF-5455-46B4-846C-A3B3909875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25F423-7158-485B-923A-26F0424F4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B55E46-05EB-4553-87B7-48BA4C971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140434-D2E2-4749-93CA-DCBBD8ABE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6505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ADA21-9D66-47FF-B6C1-9DAFE7D13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AFD85D-4A4E-41DE-845E-0E595282E1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2C01D8-714E-47B2-8B3D-A352E19992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2D8387-8331-4961-A061-AA68E34175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8BCF799-2919-4392-8E7E-28CDE795C4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60DD265-BE63-4D27-BDC4-597050636E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68DDA8-0A9A-43A4-96AD-3883332FB8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8C8FB92-BCB5-4B58-A737-D75FA816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483468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F093FE-FCF4-43C1-9D4A-9578E0C0F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EF3B8-CADB-4A2E-8353-C2F041F722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5BBB23-C8B7-4F5A-A11A-E39263514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9B1AFC-3527-453D-8A43-9B5343AF4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0924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B193B2-D14A-4209-A06A-E90BC25AC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46B109-16F6-49A7-B3C0-6B188E356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8395EF-6078-4E06-8D3F-5C712ABC6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9638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922EB-109E-46F4-BF12-39B062A5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C08BBB-C9D5-4C3A-BB89-9E5ABA9027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AE8213-0052-4AD7-A13B-B83D6017C3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AAACDB-DA70-44CA-9ABD-DECC4730C9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27F18A-71B1-4CB8-A962-FA7BFFAF4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92E328-AAB5-4A84-AF70-ED1D99A29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50160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38216-4759-414F-84A2-0DAD08ED5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9A4F31-C3AF-4458-A486-2621B67699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BEAF4B-93EB-478B-B397-A208F8272F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B8B1C2-426A-46C0-A041-B4B6806E9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3FB4A6-E435-44C4-BD0B-9FD6D53F9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BB6320-52E4-4C47-8A49-C4A05C783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46893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2F36504-2103-497D-A2E3-4BAECFF155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8858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0F5B5-E299-4908-B50B-191169B46E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BC2E57-B927-40EF-93AA-BAC32FEBD6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D08516-2A59-4CC3-9B4E-2C187E92FD0B}" type="datetimeFigureOut">
              <a:rPr lang="en-IN" smtClean="0"/>
              <a:t>29-12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13DB99-01D2-4B09-B78A-59BD216659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D26976-D605-407B-B5E9-CD58495948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4694F4-D0DC-4CA8-B5C4-9E1691260E9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9081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6" Type="http://schemas.openxmlformats.org/officeDocument/2006/relationships/slideLayout" Target="../slideLayouts/slideLayout1.xml"/><Relationship Id="rId20" Type="http://schemas.openxmlformats.org/officeDocument/2006/relationships/chart" Target="../charts/chart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31F28-644E-4FC9-87BE-01A480EA82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20320E5F-FB2C-48D0-87D0-27FEBC13490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629858"/>
              </p:ext>
            </p:extLst>
          </p:nvPr>
        </p:nvGraphicFramePr>
        <p:xfrm>
          <a:off x="3467100" y="936625"/>
          <a:ext cx="5099050" cy="2289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09925" y="2752725"/>
            <a:ext cx="561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773607-F97E-4DAC-BAD8-D09317D09131}" type="datetime'S''er''''''''''''''''''''''''''''ie''''''s ''3'">
              <a:rPr lang="en-I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IN" sz="14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209925" y="2120900"/>
            <a:ext cx="561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A65C518-DFA2-48B9-A994-ED524F19D8BB}" type="datetime'''''Ser''i''''''e''''s'''''''' ''''''''''1'''''''''''''''">
              <a:rPr lang="en-I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IN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184650" y="3201988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D7C546-240C-40E6-A132-08CE265784C7}" type="datetime'2''''''''''''''''''''''01''''8'''''''''''''''">
              <a:rPr lang="en-I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IN" sz="14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829300" y="3201988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D0B49A-709E-4E45-B172-0315BF51F6BD}" type="datetime'''2''''''''''0''''''''''''''''''''''1''''''''''''9'">
              <a:rPr lang="en-I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IN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256088" y="1941513"/>
            <a:ext cx="231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16C4A2-4EF5-4838-9DE3-F2B55EC66381}" type="datetime'''''''''2''''''''2'''''''''''''''''''''''''''''''''''''">
              <a:rPr lang="en-I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IN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473950" y="3201988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B84E46-B261-49B8-AD52-FEBA88709256}" type="datetime'''''2''0''''''2''''''''''''''''''''''''''''0'''''''''">
              <a:rPr lang="en-I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IN" sz="14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09925" y="2363788"/>
            <a:ext cx="561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6DD04A-684F-4B2C-8E70-3F36DAD86BFF}" type="datetime'''''S''e''''r''''i''''''''''''''''e''s'' ''''2'''''''''">
              <a:rPr lang="en-I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IN" sz="1400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900738" y="1506538"/>
            <a:ext cx="231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8EB20F-4BD3-41B8-920B-D986DCDA536F}" type="datetime'''''''''3''''''''''''''''''1'''''''''''''''''">
              <a:rPr lang="en-I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en-IN" sz="14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545388" y="801688"/>
            <a:ext cx="231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F51626-8812-4D65-8884-F65379246B8F}" type="datetime'''''''''''''''''''''''''''''''4''''''''''6'''''''''''''''''">
              <a:rPr lang="en-IN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en-IN" sz="1400" dirty="0"/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FD9AE3C4-D7E6-403E-988D-3CBD2EF88EA8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49247062"/>
              </p:ext>
            </p:extLst>
          </p:nvPr>
        </p:nvGraphicFramePr>
        <p:xfrm>
          <a:off x="4413250" y="3508375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375526" y="5286375"/>
            <a:ext cx="561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EF1AA7-2317-4C89-B227-F382BF378375}" type="datetime'S''''''e''''ri''''''''''''''''e''s'''''''''''''''' ''1'''''''">
              <a:rPr lang="en-IN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IN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965576" y="5486400"/>
            <a:ext cx="561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15D4BB-AE1A-42BD-A457-5AA7E08BDA80}" type="datetime'''''''''''''''''''''Se''r''''''''''''ie''''''''s 2'''''''''">
              <a:rPr lang="en-I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IN" sz="14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201C14E5-1A49-4916-B418-9505E3DAF29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67239" y="3609975"/>
            <a:ext cx="561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E7C571-1B11-4CB9-9443-11C310D3DD3E}" type="datetime'''''''''Se''''''''''''''''''''ri''''''e''''''''s'' 3'''''''''">
              <a:rPr lang="en-IN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IN" sz="1400" dirty="0"/>
          </a:p>
        </p:txBody>
      </p:sp>
    </p:spTree>
    <p:extLst>
      <p:ext uri="{BB962C8B-B14F-4D97-AF65-F5344CB8AC3E}">
        <p14:creationId xmlns:p14="http://schemas.microsoft.com/office/powerpoint/2010/main" val="8977154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798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NO4AM_OJ1LsLJom49h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Yb9Uoy7pvqPK9PlMl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Ay4d4lttiBHd6aobw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xfD8Gl2HxRX0nyGNDt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vOkCKd5xodU5GNcvfW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uSXSZE5bN_bfu9KLa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.fzDqV2IIuz4pVLN9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h9.fpRKR89tKQ7iT3H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Qd1MJOwTqs46zzTpy2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VSpX6RDiplITELysGv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bQcR4249CRDyNzfgbO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Pu9.ugq.xUfM14pEiK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5mLpKKjKuhFVZLE_Uy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d1iIm_ChS3ueCe5aXGN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</TotalTime>
  <Words>24</Words>
  <Application>Microsoft Office PowerPoint</Application>
  <PresentationFormat>Widescreen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nil Gupta</dc:creator>
  <cp:lastModifiedBy>Sunil Gupta</cp:lastModifiedBy>
  <cp:revision>12</cp:revision>
  <dcterms:created xsi:type="dcterms:W3CDTF">2020-12-21T14:06:33Z</dcterms:created>
  <dcterms:modified xsi:type="dcterms:W3CDTF">2020-12-29T10:30:42Z</dcterms:modified>
</cp:coreProperties>
</file>